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2"/>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88" r:id="rId46"/>
    <p:sldId id="489" r:id="rId47"/>
    <p:sldId id="490" r:id="rId48"/>
    <p:sldId id="491" r:id="rId49"/>
    <p:sldId id="492" r:id="rId50"/>
    <p:sldId id="493" r:id="rId51"/>
  </p:sldIdLst>
  <p:sldSz cx="12192000" cy="6858000"/>
  <p:notesSz cx="6858000" cy="9144000"/>
  <p:custDataLst>
    <p:tags r:id="rId5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66863" autoAdjust="0"/>
  </p:normalViewPr>
  <p:slideViewPr>
    <p:cSldViewPr snapToGrid="0">
      <p:cViewPr>
        <p:scale>
          <a:sx n="100" d="100"/>
          <a:sy n="100" d="100"/>
        </p:scale>
        <p:origin x="1254" y="-30"/>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8.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1.xml"/><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emf"/><Relationship Id="rId10" Type="http://schemas.openxmlformats.org/officeDocument/2006/relationships/image" Target="../media/image107.png"/><Relationship Id="rId4" Type="http://schemas.openxmlformats.org/officeDocument/2006/relationships/oleObject" Target="../embeddings/oleObject6.bin"/><Relationship Id="rId9" Type="http://schemas.openxmlformats.org/officeDocument/2006/relationships/image" Target="../media/image106.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29"/>
            <a:ext cx="4996444" cy="5766945"/>
            <a:chOff x="2690231" y="189229"/>
            <a:chExt cx="4996444" cy="576694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29"/>
              <a:ext cx="4996444" cy="5766945"/>
              <a:chOff x="2690231" y="189229"/>
              <a:chExt cx="4996444" cy="5766945"/>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29"/>
                <a:ext cx="4930523" cy="5766945"/>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2215550"/>
            <a:chOff x="1153865" y="2635249"/>
            <a:chExt cx="8796585" cy="2215550"/>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2215549"/>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153865" y="2699826"/>
              <a:ext cx="8711386" cy="2150973"/>
              <a:chOff x="245462" y="3567107"/>
              <a:chExt cx="8711386" cy="2150973"/>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245462" y="3567107"/>
                <a:ext cx="8711386" cy="2150973"/>
                <a:chOff x="94323" y="2356664"/>
                <a:chExt cx="10087902" cy="2579661"/>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94323" y="2356664"/>
                  <a:ext cx="10087902" cy="1525301"/>
                  <a:chOff x="94323" y="2356664"/>
                  <a:chExt cx="10087902" cy="1525301"/>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94323" y="2356664"/>
                    <a:ext cx="10087902" cy="1525301"/>
                    <a:chOff x="1755714" y="2452839"/>
                    <a:chExt cx="10087902" cy="1321959"/>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755714" y="2452845"/>
                      <a:ext cx="10087902" cy="1321953"/>
                      <a:chOff x="2335241" y="4138485"/>
                      <a:chExt cx="7878876" cy="1032474"/>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339927" y="4138485"/>
                        <a:ext cx="7874190" cy="515550"/>
                        <a:chOff x="1121515" y="4164707"/>
                        <a:chExt cx="7874190" cy="515550"/>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0"/>
                          <a:endCxn id="18" idx="1"/>
                        </p:cNvCxnSpPr>
                        <p:nvPr/>
                      </p:nvCxnSpPr>
                      <p:spPr>
                        <a:xfrm rot="5400000" flipH="1" flipV="1">
                          <a:off x="1957408" y="3900412"/>
                          <a:ext cx="59576" cy="107536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21515" y="4467880"/>
                          <a:ext cx="65600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35241" y="4625687"/>
                        <a:ext cx="7878875" cy="545272"/>
                        <a:chOff x="1116830" y="3688471"/>
                        <a:chExt cx="7878875" cy="545272"/>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0"/>
                          <a:endCxn id="16" idx="1"/>
                        </p:cNvCxnSpPr>
                        <p:nvPr/>
                      </p:nvCxnSpPr>
                      <p:spPr>
                        <a:xfrm rot="5400000" flipH="1" flipV="1">
                          <a:off x="2075979" y="3572470"/>
                          <a:ext cx="71241" cy="82655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16830" y="4021366"/>
                          <a:ext cx="1162988"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0"/>
                  <a:endCxn id="12" idx="1"/>
                </p:cNvCxnSpPr>
                <p:nvPr/>
              </p:nvCxnSpPr>
              <p:spPr>
                <a:xfrm rot="5400000" flipH="1" flipV="1">
                  <a:off x="1336257" y="3857792"/>
                  <a:ext cx="221249" cy="9022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94323" y="4419562"/>
                  <a:ext cx="1802824" cy="516763"/>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5822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5" y="240437"/>
            <a:ext cx="3394078" cy="1686879"/>
            <a:chOff x="5019675" y="240437"/>
            <a:chExt cx="3394078" cy="1686879"/>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4" name="Rectangle 21">
              <a:extLst>
                <a:ext uri="{FF2B5EF4-FFF2-40B4-BE49-F238E27FC236}">
                  <a16:creationId xmlns:a16="http://schemas.microsoft.com/office/drawing/2014/main" id="{2FCDC64E-8D5A-CFE4-C547-A1D1A3BF6F35}"/>
                </a:ext>
              </a:extLst>
            </p:cNvPr>
            <p:cNvSpPr/>
            <p:nvPr/>
          </p:nvSpPr>
          <p:spPr>
            <a:xfrm>
              <a:off x="5019675" y="240437"/>
              <a:ext cx="3394078" cy="12724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multiple Sensor objects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7"/>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8"/>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1"/>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2"/>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04056"/>
            <a:ext cx="4033339"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 for each track – sensor object association </a:t>
            </a:r>
            <a:r>
              <a:rPr lang="en-US" sz="800" kern="1200" dirty="0">
                <a:solidFill>
                  <a:schemeClr val="tx1"/>
                </a:solidFill>
                <a:latin typeface="Daimler CS" pitchFamily="2" charset="0"/>
                <a:sym typeface="Wingdings" panose="05000000000000000000" pitchFamily="2" charset="2"/>
              </a:rPr>
              <a:t> 288</a:t>
            </a:r>
            <a:endParaRPr lang="en-US" sz="800" kern="1200" dirty="0">
              <a:solidFill>
                <a:schemeClr val="tx1"/>
              </a:solidFill>
              <a:latin typeface="Daimler CS" pitchFamily="2" charset="0"/>
            </a:endParaRP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16</Words>
  <Application>Microsoft Office PowerPoint</Application>
  <PresentationFormat>Breitbild</PresentationFormat>
  <Paragraphs>1313</Paragraphs>
  <Slides>50</Slides>
  <Notes>41</Notes>
  <HiddenSlides>14</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0</vt:i4>
      </vt:variant>
    </vt:vector>
  </HeadingPairs>
  <TitlesOfParts>
    <vt:vector size="61"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3</cp:revision>
  <dcterms:created xsi:type="dcterms:W3CDTF">2022-02-05T01:08:08Z</dcterms:created>
  <dcterms:modified xsi:type="dcterms:W3CDTF">2024-07-05T20:2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